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36"/>
  </p:notesMasterIdLst>
  <p:handoutMasterIdLst>
    <p:handoutMasterId r:id="rId37"/>
  </p:handoutMasterIdLst>
  <p:sldIdLst>
    <p:sldId id="374" r:id="rId7"/>
    <p:sldId id="382" r:id="rId8"/>
    <p:sldId id="318" r:id="rId9"/>
    <p:sldId id="425" r:id="rId10"/>
    <p:sldId id="320" r:id="rId11"/>
    <p:sldId id="426" r:id="rId12"/>
    <p:sldId id="427" r:id="rId13"/>
    <p:sldId id="323" r:id="rId14"/>
    <p:sldId id="428" r:id="rId15"/>
    <p:sldId id="429" r:id="rId16"/>
    <p:sldId id="324" r:id="rId17"/>
    <p:sldId id="430" r:id="rId18"/>
    <p:sldId id="432" r:id="rId19"/>
    <p:sldId id="431" r:id="rId20"/>
    <p:sldId id="325" r:id="rId21"/>
    <p:sldId id="327" r:id="rId22"/>
    <p:sldId id="328" r:id="rId23"/>
    <p:sldId id="394" r:id="rId24"/>
    <p:sldId id="329" r:id="rId25"/>
    <p:sldId id="368" r:id="rId26"/>
    <p:sldId id="408" r:id="rId27"/>
    <p:sldId id="409" r:id="rId28"/>
    <p:sldId id="410" r:id="rId29"/>
    <p:sldId id="411" r:id="rId30"/>
    <p:sldId id="412" r:id="rId31"/>
    <p:sldId id="413" r:id="rId32"/>
    <p:sldId id="414" r:id="rId33"/>
    <p:sldId id="395" r:id="rId34"/>
    <p:sldId id="396" r:id="rId35"/>
  </p:sldIdLst>
  <p:sldSz cx="9144000" cy="6858000" type="screen4x3"/>
  <p:notesSz cx="7023100" cy="9309100"/>
  <p:custDataLst>
    <p:tags r:id="rId3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15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2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18</TotalTime>
  <Words>1088</Words>
  <Application>Microsoft Office PowerPoint</Application>
  <PresentationFormat>On-screen Show (4:3)</PresentationFormat>
  <Paragraphs>436</Paragraphs>
  <Slides>2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4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7</cp:revision>
  <cp:lastPrinted>2015-07-29T21:30:37Z</cp:lastPrinted>
  <dcterms:created xsi:type="dcterms:W3CDTF">2017-09-21T08:49:16Z</dcterms:created>
  <dcterms:modified xsi:type="dcterms:W3CDTF">2019-02-26T17:09:0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